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72" r:id="rId7"/>
    <p:sldId id="1371" r:id="rId8"/>
    <p:sldId id="1375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72"/>
            <p14:sldId id="1371"/>
            <p14:sldId id="1375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88" autoAdjust="0"/>
    <p:restoredTop sz="94291" autoAdjust="0"/>
  </p:normalViewPr>
  <p:slideViewPr>
    <p:cSldViewPr snapToGrid="0">
      <p:cViewPr varScale="1">
        <p:scale>
          <a:sx n="72" d="100"/>
          <a:sy n="72" d="100"/>
        </p:scale>
        <p:origin x="738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9. 12. 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9. 12. 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cs-CZ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29. prosince 2021</a:t>
            </a:r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9343214"/>
              </p:ext>
            </p:extLst>
          </p:nvPr>
        </p:nvGraphicFramePr>
        <p:xfrm>
          <a:off x="323851" y="638008"/>
          <a:ext cx="11519385" cy="6011197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120375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dirty="0">
                          <a:latin typeface="Calibri" panose="020F0502020204030204" pitchFamily="34" charset="0"/>
                        </a:rPr>
                        <a:t>Zlepšení situace v nemocnici KV a Chebu Nicméně stále ponechána </a:t>
                      </a:r>
                      <a:r>
                        <a:rPr lang="cs-CZ" sz="1300" dirty="0" err="1">
                          <a:latin typeface="Calibri" panose="020F0502020204030204" pitchFamily="34" charset="0"/>
                        </a:rPr>
                        <a:t>reprofilizovaná</a:t>
                      </a:r>
                      <a:r>
                        <a:rPr lang="cs-CZ" sz="1300" dirty="0">
                          <a:latin typeface="Calibri" panose="020F0502020204030204" pitchFamily="34" charset="0"/>
                        </a:rPr>
                        <a:t> lůžka IP tak, aby mohla být výpomoc v rámci kraje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Havlíčkův Brod, Třebíč, Nové Město n/M) obdobná situace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nes plná nemocnice Nové Město n/M. hrozí překlady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ových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covid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zatím v rámci krajských nemocnic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5493671"/>
              </p:ext>
            </p:extLst>
          </p:nvPr>
        </p:nvGraphicFramePr>
        <p:xfrm>
          <a:off x="372867" y="838718"/>
          <a:ext cx="11435203" cy="4769720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počtu C19 hospitalizovaných na standardních odděleních i v intenzivní péči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éči se daří zajistit za cenu omezení elektivní péče i výpomoci AČR/HZS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cs-CZ" sz="13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chybí lůžka, personál dostatečný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, JIP zatížené stále stejně, nelze spustit elektivní operativu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 plné především v menších nemocnicích (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Kroměříž).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.</a:t>
                      </a:r>
                    </a:p>
                    <a:p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inemocničními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nsporty v rámci kraje.</a:t>
                      </a:r>
                    </a:p>
                    <a:p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akt. “stabilizovaná“ – snížil se počet nově přijímaných COVID pacientů. </a:t>
                      </a:r>
                    </a:p>
                    <a:p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IP problém s velkým počtem post-COVID pacientů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lůžka IP C+ pacienty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.12.2021 00:2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9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AA1618CC-0CC1-4E1C-900C-DFF5C9EBC7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2015664"/>
              </p:ext>
            </p:extLst>
          </p:nvPr>
        </p:nvGraphicFramePr>
        <p:xfrm>
          <a:off x="332818" y="1017241"/>
          <a:ext cx="8970208" cy="5346990"/>
        </p:xfrm>
        <a:graphic>
          <a:graphicData uri="http://schemas.openxmlformats.org/drawingml/2006/table">
            <a:tbl>
              <a:tblPr/>
              <a:tblGrid>
                <a:gridCol w="1904146">
                  <a:extLst>
                    <a:ext uri="{9D8B030D-6E8A-4147-A177-3AD203B41FA5}">
                      <a16:colId xmlns:a16="http://schemas.microsoft.com/office/drawing/2014/main" val="2716850685"/>
                    </a:ext>
                  </a:extLst>
                </a:gridCol>
                <a:gridCol w="1165804">
                  <a:extLst>
                    <a:ext uri="{9D8B030D-6E8A-4147-A177-3AD203B41FA5}">
                      <a16:colId xmlns:a16="http://schemas.microsoft.com/office/drawing/2014/main" val="435167325"/>
                    </a:ext>
                  </a:extLst>
                </a:gridCol>
                <a:gridCol w="1078367">
                  <a:extLst>
                    <a:ext uri="{9D8B030D-6E8A-4147-A177-3AD203B41FA5}">
                      <a16:colId xmlns:a16="http://schemas.microsoft.com/office/drawing/2014/main" val="2800011993"/>
                    </a:ext>
                  </a:extLst>
                </a:gridCol>
                <a:gridCol w="1075130">
                  <a:extLst>
                    <a:ext uri="{9D8B030D-6E8A-4147-A177-3AD203B41FA5}">
                      <a16:colId xmlns:a16="http://schemas.microsoft.com/office/drawing/2014/main" val="1690676924"/>
                    </a:ext>
                  </a:extLst>
                </a:gridCol>
                <a:gridCol w="1113990">
                  <a:extLst>
                    <a:ext uri="{9D8B030D-6E8A-4147-A177-3AD203B41FA5}">
                      <a16:colId xmlns:a16="http://schemas.microsoft.com/office/drawing/2014/main" val="417795340"/>
                    </a:ext>
                  </a:extLst>
                </a:gridCol>
                <a:gridCol w="1117227">
                  <a:extLst>
                    <a:ext uri="{9D8B030D-6E8A-4147-A177-3AD203B41FA5}">
                      <a16:colId xmlns:a16="http://schemas.microsoft.com/office/drawing/2014/main" val="2366231361"/>
                    </a:ext>
                  </a:extLst>
                </a:gridCol>
                <a:gridCol w="1515544">
                  <a:extLst>
                    <a:ext uri="{9D8B030D-6E8A-4147-A177-3AD203B41FA5}">
                      <a16:colId xmlns:a16="http://schemas.microsoft.com/office/drawing/2014/main" val="4269815419"/>
                    </a:ext>
                  </a:extLst>
                </a:gridCol>
              </a:tblGrid>
              <a:tr h="17843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2036939"/>
                  </a:ext>
                </a:extLst>
              </a:tr>
              <a:tr h="178438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9.12. 2021, 11:30 h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0558463"/>
                  </a:ext>
                </a:extLst>
              </a:tr>
              <a:tr h="14912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5360992"/>
                  </a:ext>
                </a:extLst>
              </a:tr>
              <a:tr h="16569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7064011"/>
                  </a:ext>
                </a:extLst>
              </a:tr>
              <a:tr h="6436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0733899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5037553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255060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595674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761904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1658246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7282220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8872973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6039153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72783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1459946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7453948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7753961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5463265"/>
                  </a:ext>
                </a:extLst>
              </a:tr>
              <a:tr h="17206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9615110"/>
                  </a:ext>
                </a:extLst>
              </a:tr>
              <a:tr h="1656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9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2283789"/>
                  </a:ext>
                </a:extLst>
              </a:tr>
              <a:tr h="159320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0298680"/>
                  </a:ext>
                </a:extLst>
              </a:tr>
              <a:tr h="14912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2226255"/>
                  </a:ext>
                </a:extLst>
              </a:tr>
              <a:tr h="15932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7820717"/>
                  </a:ext>
                </a:extLst>
              </a:tr>
              <a:tr h="15932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x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59634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Izolační lůžka IP jsou umístěna na neinfekčních odděleních IP.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8CBFA0D-F31A-4E4E-9CB3-C63929695C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8263090"/>
              </p:ext>
            </p:extLst>
          </p:nvPr>
        </p:nvGraphicFramePr>
        <p:xfrm>
          <a:off x="332819" y="987914"/>
          <a:ext cx="9062973" cy="5350475"/>
        </p:xfrm>
        <a:graphic>
          <a:graphicData uri="http://schemas.openxmlformats.org/drawingml/2006/table">
            <a:tbl>
              <a:tblPr/>
              <a:tblGrid>
                <a:gridCol w="1923836">
                  <a:extLst>
                    <a:ext uri="{9D8B030D-6E8A-4147-A177-3AD203B41FA5}">
                      <a16:colId xmlns:a16="http://schemas.microsoft.com/office/drawing/2014/main" val="2341986174"/>
                    </a:ext>
                  </a:extLst>
                </a:gridCol>
                <a:gridCol w="1177861">
                  <a:extLst>
                    <a:ext uri="{9D8B030D-6E8A-4147-A177-3AD203B41FA5}">
                      <a16:colId xmlns:a16="http://schemas.microsoft.com/office/drawing/2014/main" val="1711963486"/>
                    </a:ext>
                  </a:extLst>
                </a:gridCol>
                <a:gridCol w="1089521">
                  <a:extLst>
                    <a:ext uri="{9D8B030D-6E8A-4147-A177-3AD203B41FA5}">
                      <a16:colId xmlns:a16="http://schemas.microsoft.com/office/drawing/2014/main" val="2117839736"/>
                    </a:ext>
                  </a:extLst>
                </a:gridCol>
                <a:gridCol w="1086247">
                  <a:extLst>
                    <a:ext uri="{9D8B030D-6E8A-4147-A177-3AD203B41FA5}">
                      <a16:colId xmlns:a16="http://schemas.microsoft.com/office/drawing/2014/main" val="1363069820"/>
                    </a:ext>
                  </a:extLst>
                </a:gridCol>
                <a:gridCol w="1125509">
                  <a:extLst>
                    <a:ext uri="{9D8B030D-6E8A-4147-A177-3AD203B41FA5}">
                      <a16:colId xmlns:a16="http://schemas.microsoft.com/office/drawing/2014/main" val="3661999544"/>
                    </a:ext>
                  </a:extLst>
                </a:gridCol>
                <a:gridCol w="1128782">
                  <a:extLst>
                    <a:ext uri="{9D8B030D-6E8A-4147-A177-3AD203B41FA5}">
                      <a16:colId xmlns:a16="http://schemas.microsoft.com/office/drawing/2014/main" val="2645618031"/>
                    </a:ext>
                  </a:extLst>
                </a:gridCol>
                <a:gridCol w="1531217">
                  <a:extLst>
                    <a:ext uri="{9D8B030D-6E8A-4147-A177-3AD203B41FA5}">
                      <a16:colId xmlns:a16="http://schemas.microsoft.com/office/drawing/2014/main" val="2666776235"/>
                    </a:ext>
                  </a:extLst>
                </a:gridCol>
              </a:tblGrid>
              <a:tr h="17026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1248414"/>
                  </a:ext>
                </a:extLst>
              </a:tr>
              <a:tr h="17922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9.12. 2021, 11:3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6040057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764255"/>
                  </a:ext>
                </a:extLst>
              </a:tr>
              <a:tr h="166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9267195"/>
                  </a:ext>
                </a:extLst>
              </a:tr>
              <a:tr h="64649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756694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5947540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2729109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312144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636178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2917810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3383410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6884974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5131985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586910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051950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02334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638273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0007525"/>
                  </a:ext>
                </a:extLst>
              </a:tr>
              <a:tr h="1664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9047892"/>
                  </a:ext>
                </a:extLst>
              </a:tr>
              <a:tr h="1728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62341"/>
                  </a:ext>
                </a:extLst>
              </a:tr>
              <a:tr h="16002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8978691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7525635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177997"/>
                  </a:ext>
                </a:extLst>
              </a:tr>
              <a:tr h="16002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x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4989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pacienty k 29.12.2021 00:2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b="1" dirty="0">
                <a:solidFill>
                  <a:srgbClr val="000000"/>
                </a:solidFill>
                <a:latin typeface="Arial" panose="020B0604020202020204"/>
              </a:rPr>
              <a:t>2 770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Izolační lůžka s kyslíkem jsou umístěna na standardních odděleních.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AE9F26A-D39A-492C-8840-3FE70D6EBE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7026954"/>
              </p:ext>
            </p:extLst>
          </p:nvPr>
        </p:nvGraphicFramePr>
        <p:xfrm>
          <a:off x="332819" y="1050529"/>
          <a:ext cx="8519634" cy="5309784"/>
        </p:xfrm>
        <a:graphic>
          <a:graphicData uri="http://schemas.openxmlformats.org/drawingml/2006/table">
            <a:tbl>
              <a:tblPr/>
              <a:tblGrid>
                <a:gridCol w="1731609">
                  <a:extLst>
                    <a:ext uri="{9D8B030D-6E8A-4147-A177-3AD203B41FA5}">
                      <a16:colId xmlns:a16="http://schemas.microsoft.com/office/drawing/2014/main" val="3306492035"/>
                    </a:ext>
                  </a:extLst>
                </a:gridCol>
                <a:gridCol w="1060169">
                  <a:extLst>
                    <a:ext uri="{9D8B030D-6E8A-4147-A177-3AD203B41FA5}">
                      <a16:colId xmlns:a16="http://schemas.microsoft.com/office/drawing/2014/main" val="2060821148"/>
                    </a:ext>
                  </a:extLst>
                </a:gridCol>
                <a:gridCol w="980655">
                  <a:extLst>
                    <a:ext uri="{9D8B030D-6E8A-4147-A177-3AD203B41FA5}">
                      <a16:colId xmlns:a16="http://schemas.microsoft.com/office/drawing/2014/main" val="2839658722"/>
                    </a:ext>
                  </a:extLst>
                </a:gridCol>
                <a:gridCol w="977711">
                  <a:extLst>
                    <a:ext uri="{9D8B030D-6E8A-4147-A177-3AD203B41FA5}">
                      <a16:colId xmlns:a16="http://schemas.microsoft.com/office/drawing/2014/main" val="19088022"/>
                    </a:ext>
                  </a:extLst>
                </a:gridCol>
                <a:gridCol w="1013050">
                  <a:extLst>
                    <a:ext uri="{9D8B030D-6E8A-4147-A177-3AD203B41FA5}">
                      <a16:colId xmlns:a16="http://schemas.microsoft.com/office/drawing/2014/main" val="2017854808"/>
                    </a:ext>
                  </a:extLst>
                </a:gridCol>
                <a:gridCol w="1378220">
                  <a:extLst>
                    <a:ext uri="{9D8B030D-6E8A-4147-A177-3AD203B41FA5}">
                      <a16:colId xmlns:a16="http://schemas.microsoft.com/office/drawing/2014/main" val="3447139445"/>
                    </a:ext>
                  </a:extLst>
                </a:gridCol>
                <a:gridCol w="1378220">
                  <a:extLst>
                    <a:ext uri="{9D8B030D-6E8A-4147-A177-3AD203B41FA5}">
                      <a16:colId xmlns:a16="http://schemas.microsoft.com/office/drawing/2014/main" val="3246075079"/>
                    </a:ext>
                  </a:extLst>
                </a:gridCol>
              </a:tblGrid>
              <a:tr h="185107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485408"/>
                  </a:ext>
                </a:extLst>
              </a:tr>
              <a:tr h="18510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9.12. 2021, 11:3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3932328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1306877"/>
                  </a:ext>
                </a:extLst>
              </a:tr>
              <a:tr h="18510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5328528"/>
                  </a:ext>
                </a:extLst>
              </a:tr>
              <a:tr h="50243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7944813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4958879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8372495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8499432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691196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1212080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6269205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16001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31844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4384382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180578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137912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355155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048825"/>
                  </a:ext>
                </a:extLst>
              </a:tr>
              <a:tr h="17188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98123"/>
                  </a:ext>
                </a:extLst>
              </a:tr>
              <a:tr h="178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3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624876"/>
                  </a:ext>
                </a:extLst>
              </a:tr>
              <a:tr h="165274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2928258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2465801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529301"/>
                  </a:ext>
                </a:extLst>
              </a:tr>
              <a:tr h="16527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x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04790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Neaktualizovaná ZZ v DIP déle než 48 h</a:t>
            </a:r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29.12.2021 11:30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ádáme všechna ZZ o aktualizaci volných lůžkových kapacit každý den i během víkendů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4901007"/>
              </p:ext>
            </p:extLst>
          </p:nvPr>
        </p:nvGraphicFramePr>
        <p:xfrm>
          <a:off x="1257035" y="1497791"/>
          <a:ext cx="5855943" cy="3472810"/>
        </p:xfrm>
        <a:graphic>
          <a:graphicData uri="http://schemas.openxmlformats.org/drawingml/2006/table">
            <a:tbl>
              <a:tblPr/>
              <a:tblGrid>
                <a:gridCol w="3654057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07983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593903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mocnice Písek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9.12.2021 10: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Oblastní </a:t>
                      </a:r>
                      <a:r>
                        <a:rPr lang="cs-CZ" sz="1300" b="0" i="0" u="none" strike="noStrike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m</a:t>
                      </a:r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. Kolín, a.s., Nemocnice Kutná Hora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2.12.2021 11: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poliklinikou Havířov, p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2.2021 11: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ové Město na Moravě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.o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2.2021 20: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Olomouc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2021 6: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TGM Hodonín, příspěvková organiza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 7: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horská nemoc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 8: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Ostrava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 8: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Kladno,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 10: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198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287081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29.12.2021 00:27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>
                          <a:latin typeface="+mj-lt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>
                          <a:latin typeface="+mj-lt"/>
                          <a:cs typeface="Calibri" panose="020F0502020204030204" pitchFamily="34" charset="0"/>
                        </a:rPr>
                        <a:t>3 460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>
                          <a:latin typeface="+mj-lt"/>
                          <a:cs typeface="Calibri" panose="020F0502020204030204" pitchFamily="34" charset="0"/>
                        </a:rPr>
                        <a:t>1 972  </a:t>
                      </a:r>
                      <a:r>
                        <a:rPr lang="cs-CZ" sz="1600" b="0" dirty="0">
                          <a:latin typeface="+mj-lt"/>
                          <a:cs typeface="Calibri" panose="020F0502020204030204" pitchFamily="34" charset="0"/>
                        </a:rPr>
                        <a:t>(57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>
                          <a:latin typeface="+mj-lt"/>
                          <a:cs typeface="Calibri" panose="020F0502020204030204" pitchFamily="34" charset="0"/>
                        </a:rPr>
                        <a:t>69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>
                          <a:latin typeface="+mj-lt"/>
                          <a:cs typeface="Calibri" panose="020F0502020204030204" pitchFamily="34" charset="0"/>
                        </a:rPr>
                        <a:t>124    </a:t>
                      </a:r>
                      <a:r>
                        <a:rPr lang="cs-CZ" sz="1600" b="0" dirty="0">
                          <a:latin typeface="+mj-lt"/>
                          <a:cs typeface="Calibri" panose="020F0502020204030204" pitchFamily="34" charset="0"/>
                        </a:rPr>
                        <a:t>(3,6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>
                          <a:latin typeface="+mj-lt"/>
                          <a:cs typeface="Calibri" panose="020F0502020204030204" pitchFamily="34" charset="0"/>
                        </a:rPr>
                        <a:t>z toho neočkovaní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/>
                        <a:t>475</a:t>
                      </a:r>
                      <a:r>
                        <a:rPr lang="cs-CZ" sz="1600" dirty="0"/>
                        <a:t> (68,8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>
                          <a:latin typeface="+mj-lt"/>
                          <a:cs typeface="Calibri" panose="020F0502020204030204" pitchFamily="34" charset="0"/>
                        </a:rPr>
                        <a:t>1 065</a:t>
                      </a:r>
                      <a:r>
                        <a:rPr lang="cs-CZ" sz="1600" b="1" dirty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>
                          <a:latin typeface="+mj-lt"/>
                          <a:cs typeface="Calibri" panose="020F0502020204030204" pitchFamily="34" charset="0"/>
                        </a:rPr>
                        <a:t>(30,8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>
                          <a:solidFill>
                            <a:srgbClr val="000000"/>
                          </a:solidFill>
                          <a:latin typeface="+mn-lt"/>
                        </a:rPr>
                        <a:t>2 770</a:t>
                      </a:r>
                      <a:endParaRPr kumimoji="0" lang="cs-CZ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>
                          <a:latin typeface="+mj-lt"/>
                          <a:cs typeface="Calibri" panose="020F0502020204030204" pitchFamily="34" charset="0"/>
                        </a:rPr>
                        <a:t> 299    </a:t>
                      </a:r>
                      <a:r>
                        <a:rPr lang="cs-CZ" sz="1600" b="0" dirty="0">
                          <a:latin typeface="+mj-lt"/>
                          <a:cs typeface="Calibri" panose="020F0502020204030204" pitchFamily="34" charset="0"/>
                        </a:rPr>
                        <a:t>(8,6 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>
                          <a:latin typeface="+mj-lt"/>
                          <a:cs typeface="Calibri" panose="020F0502020204030204" pitchFamily="34" charset="0"/>
                        </a:rPr>
                        <a:t>z toho neočkovaní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/>
                        <a:t>1 517 </a:t>
                      </a:r>
                      <a:r>
                        <a:rPr lang="cs-CZ" sz="1600" dirty="0"/>
                        <a:t>(54,8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/>
              <a:t>NDLP - Souhrn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493971"/>
              </p:ext>
            </p:extLst>
          </p:nvPr>
        </p:nvGraphicFramePr>
        <p:xfrm>
          <a:off x="790261" y="1301630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28.12.202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9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,5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85869" y="2810494"/>
            <a:ext cx="10568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>
                <a:solidFill>
                  <a:prstClr val="black"/>
                </a:solidFill>
                <a:latin typeface="Segoe UI"/>
              </a:rPr>
              <a:t>Za 28.12. bylo </a:t>
            </a:r>
            <a:r>
              <a:rPr lang="cs-CZ" sz="1800" dirty="0">
                <a:effectLst/>
                <a:latin typeface="Calibri" panose="020F0502020204030204" pitchFamily="34" charset="0"/>
              </a:rPr>
              <a:t>390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 nově přijatých C+ pacientů a 325 propuštěných. Nemocnice dohlásily řadu lehkých hospitalizací po Vánocích a došlo k očekávanému navýšení denních příjmů nových pacientů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>
                <a:solidFill>
                  <a:prstClr val="black"/>
                </a:solidFill>
                <a:latin typeface="Segoe UI"/>
              </a:rPr>
              <a:t>Koordinace mezikrajového překladu – 28.12. z </a:t>
            </a:r>
            <a:r>
              <a:rPr lang="cs-CZ" dirty="0" err="1">
                <a:solidFill>
                  <a:prstClr val="black"/>
                </a:solidFill>
                <a:latin typeface="Segoe UI"/>
              </a:rPr>
              <a:t>Nem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. Karlovy Vary pac. C+, ECMO do </a:t>
            </a:r>
            <a:r>
              <a:rPr lang="cs-CZ" dirty="0" err="1">
                <a:solidFill>
                  <a:prstClr val="black"/>
                </a:solidFill>
                <a:latin typeface="Segoe UI"/>
              </a:rPr>
              <a:t>Nem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. Motol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>
                <a:solidFill>
                  <a:prstClr val="black"/>
                </a:solidFill>
                <a:latin typeface="Segoe UI"/>
              </a:rPr>
              <a:t>Hodnocení situace v krajích od KKIP – zlepšení situace v oblasti zátěže nemocnic v KVK a zvýšení </a:t>
            </a:r>
            <a:r>
              <a:rPr lang="cs-CZ" dirty="0" err="1">
                <a:solidFill>
                  <a:prstClr val="black"/>
                </a:solidFill>
                <a:latin typeface="Segoe UI"/>
              </a:rPr>
              <a:t>elektivy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, zlepšení v oblasti personální na VY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lang="cs-CZ" altLang="cs-CZ" dirty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altLang="cs-CZ" dirty="0">
                <a:solidFill>
                  <a:prstClr val="black"/>
                </a:solidFill>
                <a:latin typeface="Segoe UI"/>
              </a:rPr>
              <a:t>Praha vykázala za včerejšek rizikový nárůst počtu případů (+ 1 180) a Středočeský kraj (+ 1 384),  což představuje 12,9 % a 15,1 % všech nově potvrzených případů z počátku povánočního týdn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lang="cs-CZ" dirty="0">
              <a:solidFill>
                <a:prstClr val="black"/>
              </a:solidFill>
              <a:latin typeface="Segoe U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970169" y="1288533"/>
            <a:ext cx="543157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třetí týden stoupá a zároveň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podíl C+ pacientů. Lůžka jsou, ale stále obsazena post COVID pac. a zátěž IP klesá pomalu.</a:t>
            </a:r>
          </a:p>
        </p:txBody>
      </p:sp>
    </p:spTree>
    <p:extLst>
      <p:ext uri="{BB962C8B-B14F-4D97-AF65-F5344CB8AC3E}">
        <p14:creationId xmlns:p14="http://schemas.microsoft.com/office/powerpoint/2010/main" val="23008162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305873"/>
              </p:ext>
            </p:extLst>
          </p:nvPr>
        </p:nvGraphicFramePr>
        <p:xfrm>
          <a:off x="332646" y="805717"/>
          <a:ext cx="11405086" cy="5392725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0503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1795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cs-CZ" sz="13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chybí lůžka, personál dostatečný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ZSHMP nemá problém se závozy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</a:t>
                      </a:r>
                      <a:r>
                        <a:rPr lang="cs-CZ" sz="13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naha o maximální zachování</a:t>
                      </a:r>
                      <a:br>
                        <a:rPr lang="cs-CZ" sz="13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a </a:t>
                      </a:r>
                      <a:r>
                        <a:rPr lang="cs-CZ" sz="1300" b="0" kern="1200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hlásí kapacitní problémy na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8375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je nadále plně zastaven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e ale pozvolna zlepšuje, alespoň z pohledu standardních oddělení, maximalizovány kapacity standardní i intenzivní péče, rezerva lůžek zůstává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íce riziková je intenzivní péče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35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pokles zátěže, kapacity t.č. neredukován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835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74525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5183246"/>
              </p:ext>
            </p:extLst>
          </p:nvPr>
        </p:nvGraphicFramePr>
        <p:xfrm>
          <a:off x="279292" y="841021"/>
          <a:ext cx="11587543" cy="5621447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8131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, ale i ve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zhledem k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á možnost překladů již neinfekčních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 Pokles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e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ale setrvale zatížená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e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ro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r>
                        <a:rPr lang="cs-CZ" sz="1300" b="0" i="0" kern="1200" baseline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751</TotalTime>
  <Words>2195</Words>
  <Application>Microsoft Office PowerPoint</Application>
  <PresentationFormat>Širokoúhlá obrazovka</PresentationFormat>
  <Paragraphs>579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7" baseType="lpstr">
      <vt:lpstr>Arial</vt:lpstr>
      <vt:lpstr>Arial Black</vt:lpstr>
      <vt:lpstr>Calibri</vt:lpstr>
      <vt:lpstr>Segoe UI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ra Ruzicka</cp:lastModifiedBy>
  <cp:revision>1796</cp:revision>
  <cp:lastPrinted>2020-10-20T04:21:56Z</cp:lastPrinted>
  <dcterms:created xsi:type="dcterms:W3CDTF">2020-07-15T10:33:32Z</dcterms:created>
  <dcterms:modified xsi:type="dcterms:W3CDTF">2021-12-29T11:07:39Z</dcterms:modified>
</cp:coreProperties>
</file>